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80000"/>
    <a:srgbClr val="A20013"/>
    <a:srgbClr val="FF9191"/>
    <a:srgbClr val="8D8D8D"/>
    <a:srgbClr val="444444"/>
    <a:srgbClr val="BDBDBD"/>
    <a:srgbClr val="F6F6F6"/>
    <a:srgbClr val="5A5A5A"/>
    <a:srgbClr val="C60018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9:25.466" v="42"/>
      <pc:docMkLst>
        <pc:docMk/>
      </pc:docMkLst>
      <pc:sldChg chg="addSp modSp mod">
        <pc:chgData name="Weigel Stefan (PAR-EPS)" userId="fd3b2067-2981-4ad8-bf3a-d2e1004e4fa8" providerId="ADAL" clId="{324483E1-FC4A-43F7-AB7F-B9239967F57E}" dt="2024-02-16T13:09:25.466" v="42"/>
        <pc:sldMkLst>
          <pc:docMk/>
          <pc:sldMk cId="3456803715" sldId="416"/>
        </pc:sldMkLst>
        <pc:spChg chg="add mod">
          <ac:chgData name="Weigel Stefan (PAR-EPS)" userId="fd3b2067-2981-4ad8-bf3a-d2e1004e4fa8" providerId="ADAL" clId="{324483E1-FC4A-43F7-AB7F-B9239967F57E}" dt="2024-02-16T13:09:25.466" v="42"/>
          <ac:spMkLst>
            <pc:docMk/>
            <pc:sldMk cId="3456803715" sldId="416"/>
            <ac:spMk id="2" creationId="{8E6C3E2A-6A28-B2D6-461C-BC0A81B14BD7}"/>
          </ac:spMkLst>
        </pc:spChg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61B1EC2E-0D93-487B-98E3-3ADDD841F075}"/>
    <pc:docChg chg="modSld">
      <pc:chgData name="Weigel Stefan (PAR-EPS)" userId="fd3b2067-2981-4ad8-bf3a-d2e1004e4fa8" providerId="ADAL" clId="{61B1EC2E-0D93-487B-98E3-3ADDD841F075}" dt="2025-02-22T13:45:01.497" v="5" actId="27918"/>
      <pc:docMkLst>
        <pc:docMk/>
      </pc:docMkLst>
      <pc:sldChg chg="modSp mod">
        <pc:chgData name="Weigel Stefan (PAR-EPS)" userId="fd3b2067-2981-4ad8-bf3a-d2e1004e4fa8" providerId="ADAL" clId="{61B1EC2E-0D93-487B-98E3-3ADDD841F075}" dt="2025-02-22T13:45:01.497" v="5" actId="27918"/>
        <pc:sldMkLst>
          <pc:docMk/>
          <pc:sldMk cId="3456803715" sldId="416"/>
        </pc:sldMkLst>
        <pc:spChg chg="mod">
          <ac:chgData name="Weigel Stefan (PAR-EPS)" userId="fd3b2067-2981-4ad8-bf3a-d2e1004e4fa8" providerId="ADAL" clId="{61B1EC2E-0D93-487B-98E3-3ADDD841F075}" dt="2025-02-22T13:44:49.898" v="0"/>
          <ac:spMkLst>
            <pc:docMk/>
            <pc:sldMk cId="3456803715" sldId="416"/>
            <ac:spMk id="10" creationId="{A572A723-7466-42C5-BC49-15C6E380BE11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D5FFD4A7-21AE-40CE-AAD5-6169250BF95D}"/>
    <pc:docChg chg="modSld">
      <pc:chgData name="Weigel Stefan (PAR-EPS)" userId="fd3b2067-2981-4ad8-bf3a-d2e1004e4fa8" providerId="ADAL" clId="{D5FFD4A7-21AE-40CE-AAD5-6169250BF95D}" dt="2024-04-22T09:25:44.217" v="39" actId="207"/>
      <pc:docMkLst>
        <pc:docMk/>
      </pc:docMkLst>
      <pc:sldChg chg="modSp mod setBg">
        <pc:chgData name="Weigel Stefan (PAR-EPS)" userId="fd3b2067-2981-4ad8-bf3a-d2e1004e4fa8" providerId="ADAL" clId="{D5FFD4A7-21AE-40CE-AAD5-6169250BF95D}" dt="2024-04-22T09:25:44.217" v="39" actId="207"/>
        <pc:sldMkLst>
          <pc:docMk/>
          <pc:sldMk cId="3456803715" sldId="416"/>
        </pc:sldMkLst>
        <pc:spChg chg="mod">
          <ac:chgData name="Weigel Stefan (PAR-EPS)" userId="fd3b2067-2981-4ad8-bf3a-d2e1004e4fa8" providerId="ADAL" clId="{D5FFD4A7-21AE-40CE-AAD5-6169250BF95D}" dt="2024-04-22T09:22:17.673" v="34" actId="1036"/>
          <ac:spMkLst>
            <pc:docMk/>
            <pc:sldMk cId="3456803715" sldId="416"/>
            <ac:spMk id="12" creationId="{1A4657D7-3337-475E-8E67-E8F468A949AF}"/>
          </ac:spMkLst>
        </pc:spChg>
        <pc:graphicFrameChg chg="mod">
          <ac:chgData name="Weigel Stefan (PAR-EPS)" userId="fd3b2067-2981-4ad8-bf3a-d2e1004e4fa8" providerId="ADAL" clId="{D5FFD4A7-21AE-40CE-AAD5-6169250BF95D}" dt="2024-04-22T09:25:44.217" v="39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8F10EA9D-3C2F-4A08-BAE6-5734E2156F25}"/>
    <pc:docChg chg="modSld">
      <pc:chgData name="Weigel Stefan (PAR-EPS)" userId="fd3b2067-2981-4ad8-bf3a-d2e1004e4fa8" providerId="ADAL" clId="{8F10EA9D-3C2F-4A08-BAE6-5734E2156F25}" dt="2025-02-14T17:59:46.814" v="15"/>
      <pc:docMkLst>
        <pc:docMk/>
      </pc:docMkLst>
      <pc:sldChg chg="modSp mod">
        <pc:chgData name="Weigel Stefan (PAR-EPS)" userId="fd3b2067-2981-4ad8-bf3a-d2e1004e4fa8" providerId="ADAL" clId="{8F10EA9D-3C2F-4A08-BAE6-5734E2156F25}" dt="2025-02-14T17:59:46.814" v="15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8F10EA9D-3C2F-4A08-BAE6-5734E2156F25}" dt="2025-02-14T17:59:46.814" v="15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Déchets industriels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F9191"/>
              </a:solidFill>
            </c:spPr>
            <c:extLst>
              <c:ext xmlns:c16="http://schemas.microsoft.com/office/drawing/2014/chart" uri="{C3380CC4-5D6E-409C-BE32-E72D297353CC}">
                <c16:uniqueId val="{00000009-39F2-4561-99C8-956ED3C398E3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C$9:$C$15</c:f>
              <c:numCache>
                <c:formatCode>#,##0</c:formatCode>
                <c:ptCount val="7"/>
                <c:pt idx="0">
                  <c:v>335529.40899999999</c:v>
                </c:pt>
                <c:pt idx="1">
                  <c:v>340584.57685000001</c:v>
                </c:pt>
                <c:pt idx="2">
                  <c:v>255408.6654</c:v>
                </c:pt>
                <c:pt idx="3">
                  <c:v>243806.60295</c:v>
                </c:pt>
                <c:pt idx="4">
                  <c:v>268659.29362000001</c:v>
                </c:pt>
                <c:pt idx="5">
                  <c:v>260629.649</c:v>
                </c:pt>
                <c:pt idx="6">
                  <c:v>247065.91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Déchets spéciaux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F80000"/>
              </a:solidFill>
            </c:spPr>
            <c:extLst>
              <c:ext xmlns:c16="http://schemas.microsoft.com/office/drawing/2014/chart" uri="{C3380CC4-5D6E-409C-BE32-E72D297353CC}">
                <c16:uniqueId val="{0000000B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D$9:$D$15</c:f>
              <c:numCache>
                <c:formatCode>#,##0.0</c:formatCode>
                <c:ptCount val="7"/>
                <c:pt idx="0">
                  <c:v>45084.401709999998</c:v>
                </c:pt>
                <c:pt idx="1">
                  <c:v>36138.817710000003</c:v>
                </c:pt>
                <c:pt idx="2">
                  <c:v>30928.20955</c:v>
                </c:pt>
                <c:pt idx="3">
                  <c:v>51476.40984</c:v>
                </c:pt>
                <c:pt idx="4">
                  <c:v>55369.254000000001</c:v>
                </c:pt>
                <c:pt idx="5">
                  <c:v>59607.718150000001</c:v>
                </c:pt>
                <c:pt idx="6">
                  <c:v>46251.3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Déchets des voyageur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dPt>
            <c:idx val="6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A-39F2-4561-99C8-956ED3C398E3}"/>
              </c:ext>
            </c:extLst>
          </c:dPt>
          <c:cat>
            <c:numRef>
              <c:f>data!$B$9:$B$15</c:f>
              <c:numCache>
                <c:formatCode>General</c:formatCod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</c:numCache>
            </c:numRef>
          </c:cat>
          <c:val>
            <c:numRef>
              <c:f>data!$E$9:$E$15</c:f>
              <c:numCache>
                <c:formatCode>#,##0.0</c:formatCode>
                <c:ptCount val="7"/>
                <c:pt idx="0">
                  <c:v>13010.840399999999</c:v>
                </c:pt>
                <c:pt idx="1">
                  <c:v>13158.812</c:v>
                </c:pt>
                <c:pt idx="2">
                  <c:v>9620.5288000000091</c:v>
                </c:pt>
                <c:pt idx="3">
                  <c:v>9877.8128000000106</c:v>
                </c:pt>
                <c:pt idx="4">
                  <c:v>10781.881079999999</c:v>
                </c:pt>
                <c:pt idx="5">
                  <c:v>12046.5815</c:v>
                </c:pt>
                <c:pt idx="6">
                  <c:v>12904.042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2403506086348012"/>
          <c:y val="0.81846637485729923"/>
          <c:w val="0.1802327294125684"/>
          <c:h val="0.14282653519678071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75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52" y="637036"/>
          <a:ext cx="79433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t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897917942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fr-CH" dirty="0"/>
              <a:t>Déchets.</a:t>
            </a:r>
            <a:endParaRPr lang="de-CH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1142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2" name="Metadata">
            <a:extLst>
              <a:ext uri="{FF2B5EF4-FFF2-40B4-BE49-F238E27FC236}">
                <a16:creationId xmlns:a16="http://schemas.microsoft.com/office/drawing/2014/main" id="{8E6C3E2A-6A28-B2D6-461C-BC0A81B14BD7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B27E7E-3001-4BF7-8B87-73F7ACFB12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Déchet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chets.</dc:title>
  <dc:creator>Meyer Raphael (KOM-PGA-VSF)</dc:creator>
  <cp:lastModifiedBy>Stefan Weigel (PAR-EPS)</cp:lastModifiedBy>
  <cp:revision>59</cp:revision>
  <cp:lastPrinted>2024-02-16T13:09:27Z</cp:lastPrinted>
  <dcterms:created xsi:type="dcterms:W3CDTF">2020-09-30T11:00:09Z</dcterms:created>
  <dcterms:modified xsi:type="dcterms:W3CDTF">2025-02-24T12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